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214747311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2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2-4AE2-BA19-9191F42B4D67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2-4AE2-BA19-9191F42B4D6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2-4AE2-BA19-9191F42B4D6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62-4AE2-BA19-9191F42B4D67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2-4AE2-BA19-9191F42B4D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2-4AE2-BA19-9191F42B4D6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2-4AE2-BA19-9191F42B4D6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C62-4AE2-BA19-9191F42B4D6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2-4AE2-BA19-9191F42B4D67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2-4AE2-BA19-9191F42B4D6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2-4AE2-BA19-9191F42B4D6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2-4AE2-BA19-9191F42B4D67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C62-4AE2-BA19-9191F42B4D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C62-4AE2-BA19-9191F42B4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89200239"/>
        <c:axId val="1"/>
      </c:barChart>
      <c:catAx>
        <c:axId val="989200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9200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613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1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notesSlide" Target="../notesSlides/notesSlide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slideLayout" Target="../slideLayouts/slideLayout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image" Target="../media/image3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04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5" name="think-cell 幻灯片" r:id="rId30" imgW="360" imgH="360" progId="TCLayout.ActiveDocument.1">
                  <p:embed/>
                </p:oleObj>
              </mc:Choice>
              <mc:Fallback>
                <p:oleObj name="think-cell 幻灯片" r:id="rId30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932DCA58-8DD2-4313-A04E-BF77888F680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174434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C0F36A7-C487-6886-60FD-44225A77332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036638" y="1579563"/>
            <a:ext cx="10134600" cy="1666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1}</a:t>
            </a: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2}</a:t>
            </a: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3}</a:t>
            </a: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4}</a:t>
            </a: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5}</a:t>
            </a:r>
            <a:endParaRPr kumimoji="0" lang="en-US" altLang="zh-CN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6}</a:t>
            </a:r>
            <a:endParaRPr kumimoji="0" lang="en-US" altLang="zh-CN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7}</a:t>
            </a:r>
            <a:endParaRPr kumimoji="0" lang="en-US" altLang="zh-CN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8}</a:t>
            </a:r>
            <a:endParaRPr kumimoji="0" lang="en-US" altLang="zh-CN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400" dirty="0">
                <a:solidFill>
                  <a:srgbClr val="000000"/>
                </a:solidFill>
                <a:latin typeface="+mn-lt"/>
                <a:cs typeface="+mn-cs"/>
              </a:rPr>
              <a:t>{Year_9}</a:t>
            </a:r>
            <a:endParaRPr kumimoji="0" lang="en-US" altLang="zh-CN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1_revenue}</a:t>
            </a:r>
            <a:endParaRPr lang="en-US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2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3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4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5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6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7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8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2">
                    <a:lumMod val="10000"/>
                  </a:schemeClr>
                </a:solidFill>
                <a:effectLst/>
              </a:rPr>
              <a:t>{year_9_revenue}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46725" y="2262188"/>
            <a:ext cx="1114425" cy="30162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D9E886-26F8-4A43-8123-D71119A8ACC7}" type="datetime'''''''''''''''''''''''''''+''''''''''8%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r>
              <a:rPr lang="en-US" altLang="en-US" sz="1400" b="1">
                <a:solidFill>
                  <a:schemeClr val="bg2">
                    <a:lumMod val="10000"/>
                  </a:schemeClr>
                </a:solidFill>
                <a:effectLst/>
              </a:rPr>
              <a:t> p.a.</a:t>
            </a:r>
            <a:endParaRPr lang="en-US" sz="1400" b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14246734-1CCD-F170-5573-2566148AF19F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700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s, stacked, column, columns, bar, bars, think-cell, chart, charts, graph, graph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A5A4CAC-3834-8DAD-4BE7-FA2B6E2BDDEC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7266164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 dirty="0"/>
              <a:t>{content}</a:t>
            </a:r>
            <a:endParaRPr lang="en-US" sz="1400" b="0" dirty="0">
              <a:cs typeface="Arial"/>
            </a:endParaRP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788CEB9C-1EB7-49D5-19BD-383558532D5F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a </a:t>
            </a:r>
            <a:r>
              <a:rPr lang="en-US" sz="1200" b="1" u="sng">
                <a:solidFill>
                  <a:schemeClr val="tx1"/>
                </a:solidFill>
              </a:rPr>
              <a:t>think-cell chart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the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the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0278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f9iCf62BesnuSCkBsk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nwI6xwV5L6p_U69WS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</Words>
  <Application>Microsoft Office PowerPoint</Application>
  <PresentationFormat>宽屏</PresentationFormat>
  <Paragraphs>46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25T03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